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1"/>
  </p:sldMasterIdLst>
  <p:notesMasterIdLst>
    <p:notesMasterId r:id="rId12"/>
  </p:notesMasterIdLst>
  <p:handoutMasterIdLst>
    <p:handoutMasterId r:id="rId13"/>
  </p:handoutMasterIdLst>
  <p:sldIdLst>
    <p:sldId id="271" r:id="rId2"/>
    <p:sldId id="318" r:id="rId3"/>
    <p:sldId id="319" r:id="rId4"/>
    <p:sldId id="320" r:id="rId5"/>
    <p:sldId id="321" r:id="rId6"/>
    <p:sldId id="322" r:id="rId7"/>
    <p:sldId id="323" r:id="rId8"/>
    <p:sldId id="324" r:id="rId9"/>
    <p:sldId id="325" r:id="rId10"/>
    <p:sldId id="326" r:id="rId11"/>
  </p:sldIdLst>
  <p:sldSz cx="12190413" cy="6859588"/>
  <p:notesSz cx="6881813" cy="10015538"/>
  <p:custDataLst>
    <p:tags r:id="rId14"/>
  </p:custDataLst>
  <p:defaultTextStyle>
    <a:defPPr>
      <a:defRPr lang="de-DE"/>
    </a:defPPr>
    <a:lvl1pPr marL="0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24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47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71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94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118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342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565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789" algn="l" defTabSz="91444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1B04E86-246D-4782-9F4F-064A46A85945}">
          <p14:sldIdLst>
            <p14:sldId id="271"/>
            <p14:sldId id="318"/>
            <p14:sldId id="319"/>
            <p14:sldId id="320"/>
            <p14:sldId id="321"/>
            <p14:sldId id="322"/>
            <p14:sldId id="323"/>
            <p14:sldId id="324"/>
            <p14:sldId id="325"/>
            <p14:sldId id="326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4020" userDrawn="1">
          <p15:clr>
            <a:srgbClr val="A4A3A4"/>
          </p15:clr>
        </p15:guide>
        <p15:guide id="3" pos="3840" userDrawn="1">
          <p15:clr>
            <a:srgbClr val="A4A3A4"/>
          </p15:clr>
        </p15:guide>
        <p15:guide id="4" pos="7291">
          <p15:clr>
            <a:srgbClr val="A4A3A4"/>
          </p15:clr>
        </p15:guide>
        <p15:guide id="5" pos="3726" userDrawn="1">
          <p15:clr>
            <a:srgbClr val="A4A3A4"/>
          </p15:clr>
        </p15:guide>
        <p15:guide id="6" pos="395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orient="horz" pos="5838" userDrawn="1">
          <p15:clr>
            <a:srgbClr val="A4A3A4"/>
          </p15:clr>
        </p15:guide>
        <p15:guide id="3" pos="235" userDrawn="1">
          <p15:clr>
            <a:srgbClr val="A4A3A4"/>
          </p15:clr>
        </p15:guide>
        <p15:guide id="4" pos="406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8335F"/>
    <a:srgbClr val="061A38"/>
    <a:srgbClr val="009CDA"/>
    <a:srgbClr val="B3E900"/>
    <a:srgbClr val="34B399"/>
    <a:srgbClr val="AED8EF"/>
    <a:srgbClr val="09244C"/>
    <a:srgbClr val="D9ECF8"/>
    <a:srgbClr val="2EB0A1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74" autoAdjust="0"/>
    <p:restoredTop sz="94637" autoAdjust="0"/>
  </p:normalViewPr>
  <p:slideViewPr>
    <p:cSldViewPr snapToGrid="0" snapToObjects="1" showGuides="1">
      <p:cViewPr varScale="1">
        <p:scale>
          <a:sx n="119" d="100"/>
          <a:sy n="119" d="100"/>
        </p:scale>
        <p:origin x="126" y="138"/>
      </p:cViewPr>
      <p:guideLst>
        <p:guide orient="horz" pos="4020"/>
        <p:guide pos="3840"/>
        <p:guide pos="7291"/>
        <p:guide pos="3726"/>
        <p:guide pos="395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 showGuides="1">
      <p:cViewPr>
        <p:scale>
          <a:sx n="100" d="100"/>
          <a:sy n="100" d="100"/>
        </p:scale>
        <p:origin x="582" y="-426"/>
      </p:cViewPr>
      <p:guideLst>
        <p:guide orient="horz" pos="3024"/>
        <p:guide orient="horz" pos="5838"/>
        <p:guide pos="235"/>
        <p:guide pos="4068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2982119" cy="500777"/>
          </a:xfrm>
          <a:prstGeom prst="rect">
            <a:avLst/>
          </a:prstGeom>
        </p:spPr>
        <p:txBody>
          <a:bodyPr vert="horz" lIns="96551" tIns="48276" rIns="96551" bIns="48276" rtlCol="0"/>
          <a:lstStyle>
            <a:lvl1pPr algn="l">
              <a:defRPr sz="1300"/>
            </a:lvl1pPr>
          </a:lstStyle>
          <a:p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3898102" y="0"/>
            <a:ext cx="2982119" cy="500777"/>
          </a:xfrm>
          <a:prstGeom prst="rect">
            <a:avLst/>
          </a:prstGeom>
        </p:spPr>
        <p:txBody>
          <a:bodyPr vert="horz" lIns="96551" tIns="48276" rIns="96551" bIns="48276" rtlCol="0"/>
          <a:lstStyle>
            <a:lvl1pPr algn="r">
              <a:defRPr sz="1300"/>
            </a:lvl1pPr>
          </a:lstStyle>
          <a:p>
            <a:fld id="{EC72CCD9-6F01-4011-B571-3957A6F7E709}" type="datetimeFigureOut">
              <a:rPr lang="de-DE" smtClean="0">
                <a:latin typeface="Arial" panose="020B0604020202020204" pitchFamily="34" charset="0"/>
                <a:cs typeface="Arial" panose="020B0604020202020204" pitchFamily="34" charset="0"/>
              </a:rPr>
              <a:t>27.11.2019</a:t>
            </a:fld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0" y="9513023"/>
            <a:ext cx="2982119" cy="500777"/>
          </a:xfrm>
          <a:prstGeom prst="rect">
            <a:avLst/>
          </a:prstGeom>
        </p:spPr>
        <p:txBody>
          <a:bodyPr vert="horz" lIns="96551" tIns="48276" rIns="96551" bIns="48276" rtlCol="0" anchor="b"/>
          <a:lstStyle>
            <a:lvl1pPr algn="l">
              <a:defRPr sz="1300"/>
            </a:lvl1pPr>
          </a:lstStyle>
          <a:p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3898102" y="9513023"/>
            <a:ext cx="2982119" cy="500777"/>
          </a:xfrm>
          <a:prstGeom prst="rect">
            <a:avLst/>
          </a:prstGeom>
        </p:spPr>
        <p:txBody>
          <a:bodyPr vert="horz" lIns="96551" tIns="48276" rIns="96551" bIns="48276" rtlCol="0" anchor="b"/>
          <a:lstStyle>
            <a:lvl1pPr algn="r">
              <a:defRPr sz="1300"/>
            </a:lvl1pPr>
          </a:lstStyle>
          <a:p>
            <a:fld id="{65CC8460-34F5-425F-A0B5-7C13CBA5C2E3}" type="slidenum">
              <a:rPr lang="de-DE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12659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2982119" cy="500777"/>
          </a:xfrm>
          <a:prstGeom prst="rect">
            <a:avLst/>
          </a:prstGeom>
        </p:spPr>
        <p:txBody>
          <a:bodyPr vert="horz" lIns="96551" tIns="48276" rIns="96551" bIns="48276" rtlCol="0"/>
          <a:lstStyle>
            <a:lvl1pPr algn="l">
              <a:defRPr sz="13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gray">
          <a:xfrm>
            <a:off x="3898102" y="0"/>
            <a:ext cx="2982119" cy="500777"/>
          </a:xfrm>
          <a:prstGeom prst="rect">
            <a:avLst/>
          </a:prstGeom>
        </p:spPr>
        <p:txBody>
          <a:bodyPr vert="horz" lIns="96551" tIns="48276" rIns="96551" bIns="48276" rtlCol="0"/>
          <a:lstStyle>
            <a:lvl1pPr algn="r">
              <a:defRPr sz="13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C19A70C-7D1D-4F95-AA0A-6D0338EE8089}" type="datetimeFigureOut">
              <a:rPr lang="de-DE" smtClean="0"/>
              <a:pPr/>
              <a:t>27.11.2019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-533400" y="750888"/>
            <a:ext cx="6673850" cy="3756025"/>
          </a:xfrm>
          <a:prstGeom prst="rect">
            <a:avLst/>
          </a:prstGeom>
          <a:noFill/>
          <a:ln w="12700">
            <a:solidFill>
              <a:schemeClr val="accent4"/>
            </a:solidFill>
          </a:ln>
        </p:spPr>
        <p:txBody>
          <a:bodyPr vert="horz" lIns="96551" tIns="48276" rIns="96551" bIns="48276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370995" y="4757381"/>
            <a:ext cx="6086015" cy="4506992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gray">
          <a:xfrm>
            <a:off x="0" y="9513023"/>
            <a:ext cx="2982119" cy="500777"/>
          </a:xfrm>
          <a:prstGeom prst="rect">
            <a:avLst/>
          </a:prstGeom>
        </p:spPr>
        <p:txBody>
          <a:bodyPr vert="horz" lIns="96551" tIns="48276" rIns="96551" bIns="48276" rtlCol="0" anchor="b"/>
          <a:lstStyle>
            <a:lvl1pPr algn="l">
              <a:defRPr sz="13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gray">
          <a:xfrm>
            <a:off x="3898102" y="9513023"/>
            <a:ext cx="2982119" cy="500777"/>
          </a:xfrm>
          <a:prstGeom prst="rect">
            <a:avLst/>
          </a:prstGeom>
        </p:spPr>
        <p:txBody>
          <a:bodyPr vert="horz" lIns="96551" tIns="48276" rIns="96551" bIns="48276" rtlCol="0" anchor="b"/>
          <a:lstStyle>
            <a:lvl1pPr algn="r">
              <a:defRPr sz="13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372ADED-F3CA-41CF-9877-309ADD1D7348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01165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801654" rtl="0" eaLnBrk="1" latinLnBrk="0" hangingPunct="1"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157806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11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315612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473418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631224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9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631224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631224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631224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631224" indent="-157806" algn="l" defTabSz="801654" rtl="0" eaLnBrk="1" latinLnBrk="0" hangingPunct="1">
      <a:buClr>
        <a:schemeClr val="bg2"/>
      </a:buClr>
      <a:buFont typeface="Symbol" panose="05050102010706020507" pitchFamily="18" charset="2"/>
      <a:buChar char="-"/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72ADED-F3CA-41CF-9877-309ADD1D7348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5232486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72ADED-F3CA-41CF-9877-309ADD1D7348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38318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72ADED-F3CA-41CF-9877-309ADD1D7348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888272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72ADED-F3CA-41CF-9877-309ADD1D7348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40775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72ADED-F3CA-41CF-9877-309ADD1D7348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489218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72ADED-F3CA-41CF-9877-309ADD1D7348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346560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72ADED-F3CA-41CF-9877-309ADD1D7348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33583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72ADED-F3CA-41CF-9877-309ADD1D7348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43284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72ADED-F3CA-41CF-9877-309ADD1D7348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9220444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72ADED-F3CA-41CF-9877-309ADD1D7348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131207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3802" y="1122623"/>
            <a:ext cx="9142810" cy="2388153"/>
          </a:xfrm>
        </p:spPr>
        <p:txBody>
          <a:bodyPr anchor="b"/>
          <a:lstStyle>
            <a:lvl1pPr algn="ctr">
              <a:defRPr sz="59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3802" y="3602872"/>
            <a:ext cx="9142810" cy="165614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54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3" indent="0" algn="ctr">
              <a:buNone/>
              <a:defRPr sz="1600"/>
            </a:lvl4pPr>
            <a:lvl5pPr marL="1828617" indent="0" algn="ctr">
              <a:buNone/>
              <a:defRPr sz="1600"/>
            </a:lvl5pPr>
            <a:lvl6pPr marL="2285771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4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49DFC4-1118-47B3-B607-F8F10BE374A4}" type="datetime1">
              <a:rPr lang="en-US" smtClean="0"/>
              <a:t>11/27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70262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0BDDE4-5B29-46A6-8AF0-D6B98520D2F8}" type="datetime1">
              <a:rPr lang="en-US" smtClean="0"/>
              <a:t>11/27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61025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3764" y="365209"/>
            <a:ext cx="2628558" cy="5813184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091" y="365209"/>
            <a:ext cx="7733293" cy="581318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CFEEFC-7C57-49C4-A7B9-6FD40B53D893}" type="datetime1">
              <a:rPr lang="en-US" smtClean="0"/>
              <a:t>11/27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58637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57525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6792686"/>
            <a:ext cx="12190413" cy="66902"/>
          </a:xfrm>
          <a:prstGeom prst="rect">
            <a:avLst/>
          </a:prstGeom>
          <a:gradFill>
            <a:gsLst>
              <a:gs pos="0">
                <a:schemeClr val="accent3"/>
              </a:gs>
              <a:gs pos="51000">
                <a:schemeClr val="accent4"/>
              </a:gs>
              <a:gs pos="10000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 userDrawn="1"/>
        </p:nvSpPr>
        <p:spPr>
          <a:xfrm>
            <a:off x="11463564" y="6386780"/>
            <a:ext cx="391886" cy="47280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510504"/>
            <a:ext cx="11520487" cy="498598"/>
          </a:xfrm>
        </p:spPr>
        <p:txBody>
          <a:bodyPr lIns="0" tIns="0" rIns="0" bIns="0" anchor="t" anchorCtr="0">
            <a:spAutoFit/>
          </a:bodyPr>
          <a:lstStyle>
            <a:lvl1pPr>
              <a:defRPr sz="3600" b="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1616487"/>
            <a:ext cx="11520487" cy="4561907"/>
          </a:xfrm>
        </p:spPr>
        <p:txBody>
          <a:bodyPr>
            <a:normAutofit/>
          </a:bodyPr>
          <a:lstStyle>
            <a:lvl1pPr>
              <a:defRPr sz="1400">
                <a:latin typeface="+mn-lt"/>
              </a:defRPr>
            </a:lvl1pPr>
            <a:lvl2pPr>
              <a:defRPr sz="14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34963" y="6453683"/>
            <a:ext cx="2742843" cy="365210"/>
          </a:xfrm>
        </p:spPr>
        <p:txBody>
          <a:bodyPr/>
          <a:lstStyle>
            <a:lvl1pPr>
              <a:defRPr sz="1000"/>
            </a:lvl1pPr>
          </a:lstStyle>
          <a:p>
            <a:fld id="{C8EAA725-CC0B-4A16-AE77-83A5B67A2992}" type="datetime1">
              <a:rPr lang="en-US" smtClean="0"/>
              <a:t>11/27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075" y="6453683"/>
            <a:ext cx="4114264" cy="365210"/>
          </a:xfrm>
        </p:spPr>
        <p:txBody>
          <a:bodyPr/>
          <a:lstStyle>
            <a:lvl1pPr>
              <a:defRPr sz="1000"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63564" y="6453683"/>
            <a:ext cx="391886" cy="365210"/>
          </a:xfrm>
        </p:spPr>
        <p:txBody>
          <a:bodyPr/>
          <a:lstStyle>
            <a:lvl1pPr algn="ctr">
              <a:defRPr sz="1000">
                <a:solidFill>
                  <a:schemeClr val="accent4"/>
                </a:solidFill>
              </a:defRPr>
            </a:lvl1pPr>
          </a:lstStyle>
          <a:p>
            <a:fld id="{B1EEA229-0096-49BD-81C1-58B039421B7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334963" y="319490"/>
            <a:ext cx="793479" cy="853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 userDrawn="1"/>
        </p:nvSpPr>
        <p:spPr>
          <a:xfrm>
            <a:off x="1128442" y="319490"/>
            <a:ext cx="215990" cy="853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 userDrawn="1"/>
        </p:nvSpPr>
        <p:spPr>
          <a:xfrm>
            <a:off x="1560423" y="319490"/>
            <a:ext cx="215990" cy="8532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 userDrawn="1"/>
        </p:nvSpPr>
        <p:spPr>
          <a:xfrm>
            <a:off x="1344432" y="319490"/>
            <a:ext cx="215990" cy="8532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Text Placeholder 8"/>
          <p:cNvSpPr>
            <a:spLocks noGrp="1"/>
          </p:cNvSpPr>
          <p:nvPr userDrawn="1">
            <p:ph type="body" sz="quarter" idx="13"/>
          </p:nvPr>
        </p:nvSpPr>
        <p:spPr>
          <a:xfrm>
            <a:off x="334963" y="1001936"/>
            <a:ext cx="11520487" cy="317500"/>
          </a:xfrm>
        </p:spPr>
        <p:txBody>
          <a:bodyPr lIns="0" tIns="0" rIns="0" bIns="0">
            <a:noAutofit/>
          </a:bodyPr>
          <a:lstStyle>
            <a:lvl1pPr marL="0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b="0" kern="1200" dirty="0" smtClean="0">
                <a:solidFill>
                  <a:schemeClr val="accent5"/>
                </a:solidFill>
                <a:latin typeface="+mn-lt"/>
                <a:ea typeface="+mj-ea"/>
                <a:cs typeface="+mj-cs"/>
              </a:defRPr>
            </a:lvl1pPr>
            <a:lvl2pPr marL="457154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2pPr>
            <a:lvl3pPr marL="914309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3pPr>
            <a:lvl4pPr marL="1371463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4pPr>
            <a:lvl5pPr marL="1828617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dirty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8317029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86" userDrawn="1">
          <p15:clr>
            <a:srgbClr val="FBAE40"/>
          </p15:clr>
        </p15:guide>
        <p15:guide id="2" pos="211" userDrawn="1">
          <p15:clr>
            <a:srgbClr val="FBAE40"/>
          </p15:clr>
        </p15:guide>
        <p15:guide id="3" pos="7468" userDrawn="1">
          <p15:clr>
            <a:srgbClr val="FBAE40"/>
          </p15:clr>
        </p15:guide>
        <p15:guide id="4" orient="horz" pos="913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742" y="1710134"/>
            <a:ext cx="10514231" cy="2853398"/>
          </a:xfrm>
        </p:spPr>
        <p:txBody>
          <a:bodyPr anchor="b"/>
          <a:lstStyle>
            <a:lvl1pPr>
              <a:defRPr sz="59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742" y="4590526"/>
            <a:ext cx="10514231" cy="1500534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5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0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6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77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0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2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184930-C6BA-4076-8121-BB991979AFF3}" type="datetime1">
              <a:rPr lang="en-US" smtClean="0"/>
              <a:t>11/27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37789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091" y="1826048"/>
            <a:ext cx="5180926" cy="435234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1396" y="1826048"/>
            <a:ext cx="5180926" cy="435234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F679DC-1CB2-4046-A797-EAD7F6282612}" type="datetime1">
              <a:rPr lang="en-US" smtClean="0"/>
              <a:t>11/27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93546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679" y="365210"/>
            <a:ext cx="10514231" cy="132587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679" y="1681552"/>
            <a:ext cx="5157116" cy="82410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4" indent="0">
              <a:buNone/>
              <a:defRPr sz="2000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600" b="1"/>
            </a:lvl4pPr>
            <a:lvl5pPr marL="1828617" indent="0">
              <a:buNone/>
              <a:defRPr sz="1600" b="1"/>
            </a:lvl5pPr>
            <a:lvl6pPr marL="2285771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679" y="2505655"/>
            <a:ext cx="5157116" cy="3685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1397" y="1681552"/>
            <a:ext cx="5182513" cy="82410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4" indent="0">
              <a:buNone/>
              <a:defRPr sz="2000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600" b="1"/>
            </a:lvl4pPr>
            <a:lvl5pPr marL="1828617" indent="0">
              <a:buNone/>
              <a:defRPr sz="1600" b="1"/>
            </a:lvl5pPr>
            <a:lvl6pPr marL="2285771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1397" y="2505655"/>
            <a:ext cx="5182513" cy="3685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F02CD7-7FBB-4A2A-8368-9DED15ED7385}" type="datetime1">
              <a:rPr lang="en-US" smtClean="0"/>
              <a:t>11/27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55888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948A61-F122-4A38-8B2B-5605881FB769}" type="datetime1">
              <a:rPr lang="en-US" smtClean="0"/>
              <a:t>11/27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61062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51AD3F-A3B5-4A24-A448-7EAB2C16914A}" type="datetime1">
              <a:rPr lang="en-US" smtClean="0"/>
              <a:t>11/27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18701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679" y="457306"/>
            <a:ext cx="3931725" cy="1600571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2513" y="987654"/>
            <a:ext cx="6171397" cy="487475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679" y="2057876"/>
            <a:ext cx="3931725" cy="3812471"/>
          </a:xfrm>
        </p:spPr>
        <p:txBody>
          <a:bodyPr/>
          <a:lstStyle>
            <a:lvl1pPr marL="0" indent="0">
              <a:buNone/>
              <a:defRPr sz="1600"/>
            </a:lvl1pPr>
            <a:lvl2pPr marL="457154" indent="0">
              <a:buNone/>
              <a:defRPr sz="1400"/>
            </a:lvl2pPr>
            <a:lvl3pPr marL="914309" indent="0">
              <a:buNone/>
              <a:defRPr sz="1200"/>
            </a:lvl3pPr>
            <a:lvl4pPr marL="1371463" indent="0">
              <a:buNone/>
              <a:defRPr sz="1000"/>
            </a:lvl4pPr>
            <a:lvl5pPr marL="1828617" indent="0">
              <a:buNone/>
              <a:defRPr sz="1000"/>
            </a:lvl5pPr>
            <a:lvl6pPr marL="2285771" indent="0">
              <a:buNone/>
              <a:defRPr sz="1000"/>
            </a:lvl6pPr>
            <a:lvl7pPr marL="2742926" indent="0">
              <a:buNone/>
              <a:defRPr sz="1000"/>
            </a:lvl7pPr>
            <a:lvl8pPr marL="3200080" indent="0">
              <a:buNone/>
              <a:defRPr sz="1000"/>
            </a:lvl8pPr>
            <a:lvl9pPr marL="3657234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644894-21A8-4425-9305-E6D5793453B0}" type="datetime1">
              <a:rPr lang="en-US" smtClean="0"/>
              <a:t>11/27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96030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679" y="457306"/>
            <a:ext cx="3931725" cy="1600571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2513" y="987654"/>
            <a:ext cx="6171397" cy="4874754"/>
          </a:xfrm>
        </p:spPr>
        <p:txBody>
          <a:bodyPr/>
          <a:lstStyle>
            <a:lvl1pPr marL="0" indent="0">
              <a:buNone/>
              <a:defRPr sz="3200"/>
            </a:lvl1pPr>
            <a:lvl2pPr marL="457154" indent="0">
              <a:buNone/>
              <a:defRPr sz="2800"/>
            </a:lvl2pPr>
            <a:lvl3pPr marL="914309" indent="0">
              <a:buNone/>
              <a:defRPr sz="2400"/>
            </a:lvl3pPr>
            <a:lvl4pPr marL="1371463" indent="0">
              <a:buNone/>
              <a:defRPr sz="2000"/>
            </a:lvl4pPr>
            <a:lvl5pPr marL="1828617" indent="0">
              <a:buNone/>
              <a:defRPr sz="2000"/>
            </a:lvl5pPr>
            <a:lvl6pPr marL="2285771" indent="0">
              <a:buNone/>
              <a:defRPr sz="2000"/>
            </a:lvl6pPr>
            <a:lvl7pPr marL="2742926" indent="0">
              <a:buNone/>
              <a:defRPr sz="2000"/>
            </a:lvl7pPr>
            <a:lvl8pPr marL="3200080" indent="0">
              <a:buNone/>
              <a:defRPr sz="2000"/>
            </a:lvl8pPr>
            <a:lvl9pPr marL="3657234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679" y="2057876"/>
            <a:ext cx="3931725" cy="3812471"/>
          </a:xfrm>
        </p:spPr>
        <p:txBody>
          <a:bodyPr/>
          <a:lstStyle>
            <a:lvl1pPr marL="0" indent="0">
              <a:buNone/>
              <a:defRPr sz="1600"/>
            </a:lvl1pPr>
            <a:lvl2pPr marL="457154" indent="0">
              <a:buNone/>
              <a:defRPr sz="1400"/>
            </a:lvl2pPr>
            <a:lvl3pPr marL="914309" indent="0">
              <a:buNone/>
              <a:defRPr sz="1200"/>
            </a:lvl3pPr>
            <a:lvl4pPr marL="1371463" indent="0">
              <a:buNone/>
              <a:defRPr sz="1000"/>
            </a:lvl4pPr>
            <a:lvl5pPr marL="1828617" indent="0">
              <a:buNone/>
              <a:defRPr sz="1000"/>
            </a:lvl5pPr>
            <a:lvl6pPr marL="2285771" indent="0">
              <a:buNone/>
              <a:defRPr sz="1000"/>
            </a:lvl6pPr>
            <a:lvl7pPr marL="2742926" indent="0">
              <a:buNone/>
              <a:defRPr sz="1000"/>
            </a:lvl7pPr>
            <a:lvl8pPr marL="3200080" indent="0">
              <a:buNone/>
              <a:defRPr sz="1000"/>
            </a:lvl8pPr>
            <a:lvl9pPr marL="3657234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2896BE-36AB-4DB9-9468-435E24CA2B4A}" type="datetime1">
              <a:rPr lang="en-US" smtClean="0"/>
              <a:t>11/27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58799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4954688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" name="think-cell Slide" r:id="rId15" imgW="383" imgH="384" progId="TCLayout.ActiveDocument.1">
                  <p:embed/>
                </p:oleObj>
              </mc:Choice>
              <mc:Fallback>
                <p:oleObj name="think-cell Slide" r:id="rId1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091" y="365210"/>
            <a:ext cx="10514231" cy="13258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091" y="1826048"/>
            <a:ext cx="10514231" cy="43523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091" y="6357822"/>
            <a:ext cx="2742843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4182B25-0756-4DFE-9698-0F9202B8DC3F}" type="datetime1">
              <a:rPr lang="en-US" smtClean="0"/>
              <a:t>11/27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075" y="6357822"/>
            <a:ext cx="4114264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09479" y="6357822"/>
            <a:ext cx="2742843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EEA229-0096-49BD-81C1-58B039421B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43624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  <p:sldLayoutId id="2147483655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62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77" indent="-228577" algn="l" defTabSz="9143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3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6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0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4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image" Target="../media/image3.png"/><Relationship Id="rId7" Type="http://schemas.openxmlformats.org/officeDocument/2006/relationships/image" Target="../media/image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4" Type="http://schemas.openxmlformats.org/officeDocument/2006/relationships/image" Target="../media/image5.jpg"/><Relationship Id="rId9" Type="http://schemas.openxmlformats.org/officeDocument/2006/relationships/image" Target="../media/image10.jp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png"/><Relationship Id="rId3" Type="http://schemas.openxmlformats.org/officeDocument/2006/relationships/image" Target="../media/image3.png"/><Relationship Id="rId7" Type="http://schemas.openxmlformats.org/officeDocument/2006/relationships/image" Target="../media/image14.jpg"/><Relationship Id="rId12" Type="http://schemas.openxmlformats.org/officeDocument/2006/relationships/image" Target="../media/image19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11" Type="http://schemas.openxmlformats.org/officeDocument/2006/relationships/image" Target="../media/image18.jpg"/><Relationship Id="rId5" Type="http://schemas.openxmlformats.org/officeDocument/2006/relationships/image" Target="../media/image12.png"/><Relationship Id="rId10" Type="http://schemas.openxmlformats.org/officeDocument/2006/relationships/image" Target="../media/image17.jpg"/><Relationship Id="rId4" Type="http://schemas.openxmlformats.org/officeDocument/2006/relationships/image" Target="../media/image11.jpg"/><Relationship Id="rId9" Type="http://schemas.openxmlformats.org/officeDocument/2006/relationships/image" Target="../media/image16.jpg"/><Relationship Id="rId14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3.png"/><Relationship Id="rId7" Type="http://schemas.openxmlformats.org/officeDocument/2006/relationships/image" Target="../media/image24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jpe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jp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g"/><Relationship Id="rId3" Type="http://schemas.openxmlformats.org/officeDocument/2006/relationships/image" Target="../media/image3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png"/><Relationship Id="rId11" Type="http://schemas.openxmlformats.org/officeDocument/2006/relationships/image" Target="../media/image34.png"/><Relationship Id="rId5" Type="http://schemas.openxmlformats.org/officeDocument/2006/relationships/image" Target="../media/image28.jpg"/><Relationship Id="rId10" Type="http://schemas.openxmlformats.org/officeDocument/2006/relationships/image" Target="../media/image33.png"/><Relationship Id="rId4" Type="http://schemas.openxmlformats.org/officeDocument/2006/relationships/image" Target="../media/image27.jpg"/><Relationship Id="rId9" Type="http://schemas.openxmlformats.org/officeDocument/2006/relationships/image" Target="../media/image32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5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3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8.png"/><Relationship Id="rId5" Type="http://schemas.openxmlformats.org/officeDocument/2006/relationships/image" Target="../media/image37.jpg"/><Relationship Id="rId4" Type="http://schemas.openxmlformats.org/officeDocument/2006/relationships/image" Target="../media/image3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1</a:t>
            </a:fld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1079" y="896461"/>
            <a:ext cx="8368254" cy="5066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5900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t>10</a:t>
            </a:fld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0595" y="388515"/>
            <a:ext cx="9220674" cy="5969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5476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136477"/>
            <a:ext cx="1493924" cy="904515"/>
          </a:xfrm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4162567" y="863570"/>
            <a:ext cx="364875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E" sz="4000" b="1" i="1" dirty="0" smtClean="0"/>
              <a:t>OUTLINE of CNG</a:t>
            </a:r>
            <a:endParaRPr lang="en-IE" sz="4000" b="1" i="1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3003" y="1762525"/>
            <a:ext cx="4563695" cy="4563695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709684" y="1815150"/>
            <a:ext cx="5568286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IE" dirty="0" smtClean="0"/>
              <a:t>Formed by compressing natural gas to 200 / 250 Bar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IE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IE" dirty="0" smtClean="0"/>
              <a:t>It is stored as a supercritical fluid (</a:t>
            </a:r>
            <a:r>
              <a:rPr lang="en-IE" dirty="0" err="1" smtClean="0"/>
              <a:t>scf</a:t>
            </a:r>
            <a:r>
              <a:rPr lang="en-IE" dirty="0" smtClean="0"/>
              <a:t>) at ambient temperature and high pressure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IE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IE" dirty="0" smtClean="0"/>
              <a:t>Used in the transport industry as a viable alternative to diesel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IE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IE" dirty="0" smtClean="0"/>
              <a:t>Globally 19 million CNG vehicles and 70 in Ireland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IE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IE" dirty="0" smtClean="0"/>
              <a:t> Comparison to Diesel, 22% &lt; CO</a:t>
            </a:r>
            <a:r>
              <a:rPr lang="en-IE" baseline="-25000" dirty="0" smtClean="0"/>
              <a:t>2  </a:t>
            </a:r>
            <a:r>
              <a:rPr lang="en-IE" dirty="0" smtClean="0"/>
              <a:t>and 17 – 35% cheaper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IE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IE" dirty="0" smtClean="0"/>
              <a:t>2025, Gas Networks Ireland aiming to have 5% of HGV’s on CNG.</a:t>
            </a:r>
            <a:endParaRPr lang="en-IE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2335623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136477"/>
            <a:ext cx="1493924" cy="904515"/>
          </a:xfrm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2603" y="1571456"/>
            <a:ext cx="7691883" cy="5118599"/>
          </a:xfrm>
          <a:prstGeom prst="rect">
            <a:avLst/>
          </a:prstGeom>
        </p:spPr>
      </p:pic>
      <p:pic>
        <p:nvPicPr>
          <p:cNvPr id="11" name="Picture 10" descr="Chrisander-Blog-Image-1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2603" y="1571456"/>
            <a:ext cx="7712377" cy="5135298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Picture 11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1342" y="1580898"/>
            <a:ext cx="7702946" cy="5136453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1441" y="1579405"/>
            <a:ext cx="7702946" cy="513529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1243" y="1588509"/>
            <a:ext cx="7701215" cy="513414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6007" y="331688"/>
            <a:ext cx="5143500" cy="885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55693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136477"/>
            <a:ext cx="1493924" cy="904515"/>
          </a:xfrm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8791" y="1465581"/>
            <a:ext cx="2371725" cy="192405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1112" y="202964"/>
            <a:ext cx="3781425" cy="1209675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8961" y="3055239"/>
            <a:ext cx="1905000" cy="190500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380"/>
          <a:stretch/>
        </p:blipFill>
        <p:spPr>
          <a:xfrm>
            <a:off x="5359988" y="3452884"/>
            <a:ext cx="1905000" cy="1554858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337" y="3102742"/>
            <a:ext cx="3648075" cy="1257300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6170" y="5192178"/>
            <a:ext cx="2514600" cy="1057275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9545" y="1390383"/>
            <a:ext cx="2181225" cy="2095500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0636" y="160338"/>
            <a:ext cx="2819400" cy="161925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281" y="4652098"/>
            <a:ext cx="3228975" cy="1419225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3182" y="4824908"/>
            <a:ext cx="2800350" cy="1628775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325" y="1205908"/>
            <a:ext cx="2286000" cy="1352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277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136477"/>
            <a:ext cx="1493924" cy="904515"/>
          </a:xfr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2381" y="0"/>
            <a:ext cx="2286000" cy="135255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39" b="30161"/>
          <a:stretch/>
        </p:blipFill>
        <p:spPr>
          <a:xfrm>
            <a:off x="4837853" y="219075"/>
            <a:ext cx="1905000" cy="9144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3453" y="1411219"/>
            <a:ext cx="6966759" cy="522506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7100" y="1411218"/>
            <a:ext cx="6966759" cy="5225069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3453" y="1411217"/>
            <a:ext cx="6966758" cy="5225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19075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136477"/>
            <a:ext cx="1493924" cy="904515"/>
          </a:xfr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7537" y="0"/>
            <a:ext cx="2286000" cy="135255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39" b="30161"/>
          <a:stretch/>
        </p:blipFill>
        <p:spPr>
          <a:xfrm>
            <a:off x="4701373" y="219075"/>
            <a:ext cx="1905000" cy="91440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232" y="1701321"/>
            <a:ext cx="10991767" cy="4328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6081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136477"/>
            <a:ext cx="1493924" cy="904515"/>
          </a:xfrm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4014048" y="894627"/>
            <a:ext cx="452784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E" sz="4000" b="1" i="1" dirty="0" smtClean="0"/>
              <a:t>Equipment Suppliers</a:t>
            </a:r>
            <a:endParaRPr lang="en-IE" sz="4000" b="1" i="1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8700" y="1651658"/>
            <a:ext cx="2204864" cy="1386805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475" y="1889068"/>
            <a:ext cx="4314825" cy="105727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450" y="5482356"/>
            <a:ext cx="4514850" cy="100965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5861" y="3290424"/>
            <a:ext cx="2466975" cy="184785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9999" y="4675768"/>
            <a:ext cx="2143125" cy="214312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8679" y="4396976"/>
            <a:ext cx="1905000" cy="19050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542" b="32249"/>
          <a:stretch/>
        </p:blipFill>
        <p:spPr>
          <a:xfrm>
            <a:off x="9495200" y="3616654"/>
            <a:ext cx="1857375" cy="709683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2469" y="2582470"/>
            <a:ext cx="2762250" cy="1657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3711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136477"/>
            <a:ext cx="1493924" cy="904515"/>
          </a:xfrm>
        </p:spPr>
      </p:pic>
      <p:sp>
        <p:nvSpPr>
          <p:cNvPr id="9" name="TextBox 8"/>
          <p:cNvSpPr txBox="1"/>
          <p:nvPr/>
        </p:nvSpPr>
        <p:spPr>
          <a:xfrm>
            <a:off x="3211812" y="894627"/>
            <a:ext cx="589815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E" sz="4000" b="1" i="1" dirty="0" smtClean="0"/>
              <a:t>Use in Anaerobic Digestion</a:t>
            </a:r>
            <a:endParaRPr lang="en-IE" sz="4000" b="1" i="1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7543" y="1582223"/>
            <a:ext cx="6982226" cy="52366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6505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A229-0096-49BD-81C1-58B039421B74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136477"/>
            <a:ext cx="1493924" cy="904515"/>
          </a:xfr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49550" y="884857"/>
            <a:ext cx="4714014" cy="5934036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3128218" y="894627"/>
            <a:ext cx="499284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E" sz="4000" b="1" i="1" dirty="0" smtClean="0"/>
              <a:t>CNG Causeway Project</a:t>
            </a:r>
            <a:endParaRPr lang="en-IE" sz="4000" b="1" i="1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393" b="21608"/>
          <a:stretch/>
        </p:blipFill>
        <p:spPr>
          <a:xfrm>
            <a:off x="1608932" y="1843085"/>
            <a:ext cx="2582740" cy="134302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8887" y="3378603"/>
            <a:ext cx="3733800" cy="12192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8932" y="4962200"/>
            <a:ext cx="3743325" cy="1219200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6572250" y="1602513"/>
            <a:ext cx="1548810" cy="5834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3990287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9244C"/>
      </a:accent1>
      <a:accent2>
        <a:srgbClr val="B0E900"/>
      </a:accent2>
      <a:accent3>
        <a:srgbClr val="09244C"/>
      </a:accent3>
      <a:accent4>
        <a:srgbClr val="009CDA"/>
      </a:accent4>
      <a:accent5>
        <a:srgbClr val="AED8EF"/>
      </a:accent5>
      <a:accent6>
        <a:srgbClr val="D0CECE"/>
      </a:accent6>
      <a:hlink>
        <a:srgbClr val="3F3F3F"/>
      </a:hlink>
      <a:folHlink>
        <a:srgbClr val="D6DCE4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arissa">
  <a:themeElements>
    <a:clrScheme name="LEBEMAN">
      <a:dk1>
        <a:srgbClr val="09244C"/>
      </a:dk1>
      <a:lt1>
        <a:srgbClr val="FFFFFF"/>
      </a:lt1>
      <a:dk2>
        <a:srgbClr val="09244C"/>
      </a:dk2>
      <a:lt2>
        <a:srgbClr val="B3E900"/>
      </a:lt2>
      <a:accent1>
        <a:srgbClr val="009CDA"/>
      </a:accent1>
      <a:accent2>
        <a:srgbClr val="AED8EF"/>
      </a:accent2>
      <a:accent3>
        <a:srgbClr val="D9ECF8"/>
      </a:accent3>
      <a:accent4>
        <a:srgbClr val="C6C8CA"/>
      </a:accent4>
      <a:accent5>
        <a:srgbClr val="77787B"/>
      </a:accent5>
      <a:accent6>
        <a:srgbClr val="B3E900"/>
      </a:accent6>
      <a:hlink>
        <a:srgbClr val="B3E900"/>
      </a:hlink>
      <a:folHlink>
        <a:srgbClr val="77787B"/>
      </a:folHlink>
    </a:clrScheme>
    <a:fontScheme name="Segoe UI Semibold &amp; Regular">
      <a:majorFont>
        <a:latin typeface="Segoe UI Semibold"/>
        <a:ea typeface=""/>
        <a:cs typeface="Segoe UI Black"/>
      </a:majorFont>
      <a:minorFont>
        <a:latin typeface="Segoe UI"/>
        <a:ea typeface=""/>
        <a:cs typeface="Segoe UI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EBEMAN">
      <a:dk1>
        <a:srgbClr val="09244C"/>
      </a:dk1>
      <a:lt1>
        <a:srgbClr val="FFFFFF"/>
      </a:lt1>
      <a:dk2>
        <a:srgbClr val="09244C"/>
      </a:dk2>
      <a:lt2>
        <a:srgbClr val="B3E900"/>
      </a:lt2>
      <a:accent1>
        <a:srgbClr val="009CDA"/>
      </a:accent1>
      <a:accent2>
        <a:srgbClr val="AED8EF"/>
      </a:accent2>
      <a:accent3>
        <a:srgbClr val="D9ECF8"/>
      </a:accent3>
      <a:accent4>
        <a:srgbClr val="C6C8CA"/>
      </a:accent4>
      <a:accent5>
        <a:srgbClr val="77787B"/>
      </a:accent5>
      <a:accent6>
        <a:srgbClr val="B3E900"/>
      </a:accent6>
      <a:hlink>
        <a:srgbClr val="B3E900"/>
      </a:hlink>
      <a:folHlink>
        <a:srgbClr val="77787B"/>
      </a:folHlink>
    </a:clrScheme>
    <a:fontScheme name="Segoe UI Semibold &amp; Regular">
      <a:majorFont>
        <a:latin typeface="Segoe UI Semibold"/>
        <a:ea typeface=""/>
        <a:cs typeface="Segoe UI Black"/>
      </a:majorFont>
      <a:minorFont>
        <a:latin typeface="Segoe UI"/>
        <a:ea typeface=""/>
        <a:cs typeface="Segoe UI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004</TotalTime>
  <Words>110</Words>
  <Application>Microsoft Office PowerPoint</Application>
  <PresentationFormat>Custom</PresentationFormat>
  <Paragraphs>35</Paragraphs>
  <Slides>10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Arial</vt:lpstr>
      <vt:lpstr>Calibri</vt:lpstr>
      <vt:lpstr>Calibri Light</vt:lpstr>
      <vt:lpstr>Symbol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>You Exec (https://youexec.com/plus)</Manager>
  <Company>You Exec (https://youexec.com/plus)</Company>
  <LinksUpToDate>false</LinksUpToDate>
  <SharedDoc>false</SharedDoc>
  <HyperlinkBase>https://youexec.com/plus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ou Exec (https://youexec.com/plus)</dc:title>
  <dc:subject>You Exec (https://youexec.com/plus)</dc:subject>
  <dc:creator>You Exec (https://youexec.com/plus)</dc:creator>
  <cp:keywords>You Exec (https:/youexec.com/plus)</cp:keywords>
  <dc:description>You Exec (https://youexec.com/plus)</dc:description>
  <cp:lastModifiedBy>Joanna Wilson (JWilson)</cp:lastModifiedBy>
  <cp:revision>324</cp:revision>
  <cp:lastPrinted>2019-11-26T12:13:20Z</cp:lastPrinted>
  <dcterms:created xsi:type="dcterms:W3CDTF">2016-03-15T10:14:04Z</dcterms:created>
  <dcterms:modified xsi:type="dcterms:W3CDTF">2019-11-27T14:01:45Z</dcterms:modified>
  <cp:category>You Exec (https://youexec.com/plus)</cp:category>
</cp:coreProperties>
</file>